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Y VENTAJAS</a:t>
              </a:r>
              <a:endParaRPr lang="es-ES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PCIÓ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es-ES" dirty="0"/>
              <a:t>Aumente la eficiencia de su equipo y asegure la calidad del producto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5318" y="1468872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es-ES" dirty="0"/>
              <a:t>Sistema de recuperación de calor del horn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120302-4AEA-4E02-BDB4-7E2ADE9CC71E}"/>
              </a:ext>
            </a:extLst>
          </p:cNvPr>
          <p:cNvSpPr/>
          <p:nvPr/>
        </p:nvSpPr>
        <p:spPr>
          <a:xfrm>
            <a:off x="642938" y="2233613"/>
            <a:ext cx="39624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Estabilidad segura del proceso de soplado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s-ES" altLang="fr-FR" sz="1200" dirty="0"/>
              <a:t>Evite problemas de calidad de la botella debido a la variación de la temperatura ambiente</a:t>
            </a:r>
            <a:endParaRPr lang="en-GB" altLang="fr-FR" sz="1200" b="1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FD6F1518-BBFE-45CE-A652-E51900C711DE}"/>
              </a:ext>
            </a:extLst>
          </p:cNvPr>
          <p:cNvSpPr txBox="1">
            <a:spLocks/>
          </p:cNvSpPr>
          <p:nvPr/>
        </p:nvSpPr>
        <p:spPr>
          <a:xfrm>
            <a:off x="642938" y="5874115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</a:t>
            </a:r>
            <a:r>
              <a:rPr lang="en-US" sz="800" kern="0" dirty="0" err="1">
                <a:solidFill>
                  <a:srgbClr val="000000"/>
                </a:solidFill>
              </a:rPr>
              <a:t>Eficiencia</a:t>
            </a:r>
            <a:r>
              <a:rPr lang="en-US" sz="800" kern="0" dirty="0">
                <a:solidFill>
                  <a:srgbClr val="000000"/>
                </a:solidFill>
              </a:rPr>
              <a:t>, C</a:t>
            </a:r>
            <a:r>
              <a:rPr lang="en-GB" altLang="fr-FR" sz="800" dirty="0" err="1">
                <a:solidFill>
                  <a:srgbClr val="000000"/>
                </a:solidFill>
              </a:rPr>
              <a:t>alidad</a:t>
            </a:r>
            <a:r>
              <a:rPr lang="en-GB" altLang="fr-FR" sz="800" dirty="0">
                <a:solidFill>
                  <a:srgbClr val="000000"/>
                </a:solidFill>
              </a:rPr>
              <a:t> del </a:t>
            </a:r>
            <a:r>
              <a:rPr lang="en-GB" altLang="fr-FR" sz="800" dirty="0" err="1">
                <a:solidFill>
                  <a:srgbClr val="000000"/>
                </a:solidFill>
              </a:rPr>
              <a:t>produc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S2</a:t>
            </a:r>
            <a:endParaRPr kumimoji="0" lang="es-E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518</a:t>
            </a:r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24C37120-9DCA-4A14-9927-366E2201161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169" y="3608106"/>
            <a:ext cx="2605812" cy="209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5">
            <a:extLst>
              <a:ext uri="{FF2B5EF4-FFF2-40B4-BE49-F238E27FC236}">
                <a16:creationId xmlns:a16="http://schemas.microsoft.com/office/drawing/2014/main" id="{F5BEC12B-3BBF-483B-898B-8951EA4963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388" y="2236788"/>
            <a:ext cx="3873500" cy="1827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spcBef>
                <a:spcPct val="45000"/>
              </a:spcBef>
              <a:buClr>
                <a:srgbClr val="FF0000"/>
              </a:buClr>
              <a:buSzPct val="100000"/>
              <a:defRPr/>
            </a:pPr>
            <a:r>
              <a:rPr lang="es-ES" sz="1100" dirty="0">
                <a:solidFill>
                  <a:srgbClr val="000000"/>
                </a:solidFill>
              </a:rPr>
              <a:t>Los componentes del sistema de recuperación de calor del horno: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Nuevo módulo de entrada de aire (1, 2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Un módulo de ventilación inferior que incluye un ventilador (3, 4, 5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Un módulo de ventilación superior (6,7)</a:t>
            </a:r>
            <a:endParaRPr lang="fr-FR" sz="1100" dirty="0">
              <a:solidFill>
                <a:srgbClr val="000000"/>
              </a:solidFill>
            </a:endParaRP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680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88</TotalTime>
  <Words>107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Aumente la eficiencia de su equipo y asegure la calidad del produc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7</cp:revision>
  <dcterms:created xsi:type="dcterms:W3CDTF">2018-02-10T17:04:39Z</dcterms:created>
  <dcterms:modified xsi:type="dcterms:W3CDTF">2021-02-16T12:2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